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sldIdLst>
    <p:sldId id="257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9" d="100"/>
          <a:sy n="79" d="100"/>
        </p:scale>
        <p:origin x="108" y="2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4.xml"/><Relationship Id="rId7" Type="http://schemas.openxmlformats.org/officeDocument/2006/relationships/oleObject" Target="../embeddings/oleObject2.bin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3.emf"/><Relationship Id="rId5" Type="http://schemas.openxmlformats.org/officeDocument/2006/relationships/tags" Target="../tags/tag87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6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image" Target="../media/image1.emf"/><Relationship Id="rId5" Type="http://schemas.openxmlformats.org/officeDocument/2006/relationships/tags" Target="../tags/tag95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4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0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5" Type="http://schemas.openxmlformats.org/officeDocument/2006/relationships/tags" Target="../tags/tag103.xml"/><Relationship Id="rId4" Type="http://schemas.openxmlformats.org/officeDocument/2006/relationships/tags" Target="../tags/tag102.xml"/><Relationship Id="rId9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2.emf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11" Type="http://schemas.openxmlformats.org/officeDocument/2006/relationships/image" Target="../media/image1.emf"/><Relationship Id="rId5" Type="http://schemas.openxmlformats.org/officeDocument/2006/relationships/tags" Target="../tags/tag115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14.xml"/><Relationship Id="rId9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5" Type="http://schemas.openxmlformats.org/officeDocument/2006/relationships/tags" Target="../tags/tag123.xml"/><Relationship Id="rId10" Type="http://schemas.openxmlformats.org/officeDocument/2006/relationships/image" Target="../media/image1.emf"/><Relationship Id="rId4" Type="http://schemas.openxmlformats.org/officeDocument/2006/relationships/tags" Target="../tags/tag122.xml"/><Relationship Id="rId9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9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3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4" Type="http://schemas.openxmlformats.org/officeDocument/2006/relationships/tags" Target="../tags/tag133.xml"/><Relationship Id="rId9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5" Type="http://schemas.openxmlformats.org/officeDocument/2006/relationships/tags" Target="../tags/tag140.xml"/><Relationship Id="rId10" Type="http://schemas.openxmlformats.org/officeDocument/2006/relationships/image" Target="../media/image1.emf"/><Relationship Id="rId4" Type="http://schemas.openxmlformats.org/officeDocument/2006/relationships/tags" Target="../tags/tag139.xml"/><Relationship Id="rId9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45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7.xml"/><Relationship Id="rId4" Type="http://schemas.openxmlformats.org/officeDocument/2006/relationships/tags" Target="../tags/tag146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50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2.xml"/><Relationship Id="rId4" Type="http://schemas.openxmlformats.org/officeDocument/2006/relationships/tags" Target="../tags/tag15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2.emf"/><Relationship Id="rId4" Type="http://schemas.openxmlformats.org/officeDocument/2006/relationships/tags" Target="../tags/tag55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image" Target="../media/image1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image" Target="../media/image1.emf"/><Relationship Id="rId5" Type="http://schemas.openxmlformats.org/officeDocument/2006/relationships/tags" Target="../tags/tag71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0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image" Target="../media/image1.emf"/><Relationship Id="rId5" Type="http://schemas.openxmlformats.org/officeDocument/2006/relationships/tags" Target="../tags/tag79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8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1340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4510168"/>
            <a:ext cx="1105215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092559"/>
            <a:ext cx="1105215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1941" y="2617296"/>
            <a:ext cx="11052150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C3BB88D-56AB-44C1-B3F6-80A42AFAF155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C3861B5-3C6C-4545-8BDA-FEE76619F7D7}"/>
              </a:ext>
            </a:extLst>
          </p:cNvPr>
          <p:cNvGrpSpPr/>
          <p:nvPr userDrawn="1"/>
        </p:nvGrpSpPr>
        <p:grpSpPr bwMode="ltGray">
          <a:xfrm>
            <a:off x="1" y="6482495"/>
            <a:ext cx="11634787" cy="176931"/>
            <a:chOff x="1" y="6482495"/>
            <a:chExt cx="11634787" cy="176931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571673C-8317-4ABE-A91C-ACB1E14AA2AA}"/>
                </a:ext>
              </a:extLst>
            </p:cNvPr>
            <p:cNvSpPr/>
            <p:nvPr userDrawn="1"/>
          </p:nvSpPr>
          <p:spPr bwMode="ltGray">
            <a:xfrm>
              <a:off x="2391190" y="6482495"/>
              <a:ext cx="9243598" cy="176931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chemeClr val="bg2"/>
                </a:buClr>
              </a:pPr>
              <a:endParaRPr lang="en-US" sz="16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A0711BC-85A4-4C1A-A60D-C32984310C99}"/>
                </a:ext>
              </a:extLst>
            </p:cNvPr>
            <p:cNvSpPr/>
            <p:nvPr userDrawn="1"/>
          </p:nvSpPr>
          <p:spPr bwMode="ltGray">
            <a:xfrm>
              <a:off x="1" y="6482495"/>
              <a:ext cx="11604090" cy="1524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ADDE161-098D-4975-82D9-3A879199A460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240CE31-16B4-4F8F-A81E-18BD83A2C647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BC78A8E-D49C-489B-B214-7B5421E2DD29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907495A-59A8-41BE-A1C7-C0D52021DC9E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481866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0271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CEE6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91912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1840" y="6331418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4717107-C9CD-46A2-81E0-BF3D727528AE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FEBE131-E9F3-4F9B-B142-A5A99349FA55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F7C0D6C-16DF-4BCD-9C95-17D76156C08B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19DDE191-E5FC-4DBF-BB87-5A37455249A5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Slide Number">
            <a:extLst>
              <a:ext uri="{FF2B5EF4-FFF2-40B4-BE49-F238E27FC236}">
                <a16:creationId xmlns:a16="http://schemas.microsoft.com/office/drawing/2014/main" id="{6F2B7B6B-D286-4830-85EA-04126774E6D3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8C8A770-02BD-4AC5-B921-BC35D0215FEF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3152198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3852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CEE6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38472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91912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505D95B-D31C-4E6D-B5BC-54FC0CD7937B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F92C1D9-1F29-4A3F-AC77-78B3280322F9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2D2E5B2-1563-45FC-ACCD-DE930BBCD814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1AB3E5A-5212-4FD1-AE9A-31F0120C7DD1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Slide Number">
            <a:extLst>
              <a:ext uri="{FF2B5EF4-FFF2-40B4-BE49-F238E27FC236}">
                <a16:creationId xmlns:a16="http://schemas.microsoft.com/office/drawing/2014/main" id="{7766B651-0BE1-4A76-AEB4-5A141F27149E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2FF8AB-0733-4FA4-97D2-4CB5C9DDFAC5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5038845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2933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D193292-D1FF-45C2-B33E-F014DE254E2B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961DD16-F026-42C5-9583-E5163027432D}"/>
              </a:ext>
            </a:extLst>
          </p:cNvPr>
          <p:cNvGrpSpPr/>
          <p:nvPr userDrawn="1"/>
        </p:nvGrpSpPr>
        <p:grpSpPr bwMode="ltGray">
          <a:xfrm>
            <a:off x="1" y="6482495"/>
            <a:ext cx="11634787" cy="176931"/>
            <a:chOff x="1" y="6482495"/>
            <a:chExt cx="11634787" cy="176931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2851325-83A4-43E8-8E31-2F17F183F438}"/>
                </a:ext>
              </a:extLst>
            </p:cNvPr>
            <p:cNvSpPr/>
            <p:nvPr userDrawn="1"/>
          </p:nvSpPr>
          <p:spPr bwMode="ltGray">
            <a:xfrm>
              <a:off x="2391190" y="6482495"/>
              <a:ext cx="9243598" cy="176931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chemeClr val="bg2"/>
                </a:buClr>
              </a:pPr>
              <a:endParaRPr lang="en-US" sz="16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E667A90-603C-4D80-A779-74183E583919}"/>
                </a:ext>
              </a:extLst>
            </p:cNvPr>
            <p:cNvSpPr/>
            <p:nvPr userDrawn="1"/>
          </p:nvSpPr>
          <p:spPr bwMode="ltGray">
            <a:xfrm>
              <a:off x="1" y="6482495"/>
              <a:ext cx="11604090" cy="1524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0BB7E3B-E204-42B0-9E75-94A599F94440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BD8ADFA-61C4-4FDE-B8F5-EB2A4A098AA3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C084352-FA26-4635-80F3-4119F101AA52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067EF3D-70AD-4DC1-9B15-F1336FE60359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" name="Slide Number">
            <a:extLst>
              <a:ext uri="{FF2B5EF4-FFF2-40B4-BE49-F238E27FC236}">
                <a16:creationId xmlns:a16="http://schemas.microsoft.com/office/drawing/2014/main" id="{E40E3804-49C2-4035-9718-16FC3349544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13777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9035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D3942BC5-5B72-4A7F-AEE3-F52C0F3548B0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E1B8A8A-052A-440F-B54A-6B4C21A56925}"/>
              </a:ext>
            </a:extLst>
          </p:cNvPr>
          <p:cNvGrpSpPr/>
          <p:nvPr userDrawn="1"/>
        </p:nvGrpSpPr>
        <p:grpSpPr bwMode="ltGray">
          <a:xfrm>
            <a:off x="1" y="6482495"/>
            <a:ext cx="11634787" cy="176931"/>
            <a:chOff x="1" y="6482495"/>
            <a:chExt cx="11634787" cy="176931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9F29E29-233F-45F0-B83C-9F37180ADCEE}"/>
                </a:ext>
              </a:extLst>
            </p:cNvPr>
            <p:cNvSpPr/>
            <p:nvPr userDrawn="1"/>
          </p:nvSpPr>
          <p:spPr bwMode="ltGray">
            <a:xfrm>
              <a:off x="2391190" y="6482495"/>
              <a:ext cx="9243598" cy="176931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chemeClr val="bg2"/>
                </a:buClr>
              </a:pPr>
              <a:endParaRPr lang="en-US" sz="160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EA5102-5FA5-4A09-8342-5AE61DD7B489}"/>
                </a:ext>
              </a:extLst>
            </p:cNvPr>
            <p:cNvSpPr/>
            <p:nvPr userDrawn="1"/>
          </p:nvSpPr>
          <p:spPr bwMode="ltGray">
            <a:xfrm>
              <a:off x="1" y="6482495"/>
              <a:ext cx="11604090" cy="1524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3989923-E7B6-42D8-A727-A26B90776013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4503AD6-993C-4FB5-AC55-6C6BB7219704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258F226-C596-4875-8C6A-C243020FDC37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C5C7F6C-EA37-4C3F-BEAA-CBFC37A1529E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7" name="Slide Number">
            <a:extLst>
              <a:ext uri="{FF2B5EF4-FFF2-40B4-BE49-F238E27FC236}">
                <a16:creationId xmlns:a16="http://schemas.microsoft.com/office/drawing/2014/main" id="{B1CB62A9-7D6F-4849-8BAC-F4B4EA14C9B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79983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163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C6829BF-F342-4C2D-80D4-D0ACDBF79A46}"/>
              </a:ext>
            </a:extLst>
          </p:cNvPr>
          <p:cNvGrpSpPr/>
          <p:nvPr userDrawn="1"/>
        </p:nvGrpSpPr>
        <p:grpSpPr bwMode="ltGray">
          <a:xfrm>
            <a:off x="4546600" y="2498368"/>
            <a:ext cx="3098800" cy="1861264"/>
            <a:chOff x="17864" y="-3048674"/>
            <a:chExt cx="2768679" cy="1662981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789D020D-EE57-4DE2-9CC7-4B13A2F2D79E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27FD84A0-8508-4BA1-96BB-443727D885A2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C84E3DE-81FB-452D-895A-A41B8BF9CB8C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42632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6127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RectangleLight">
            <a:extLst>
              <a:ext uri="{FF2B5EF4-FFF2-40B4-BE49-F238E27FC236}">
                <a16:creationId xmlns:a16="http://schemas.microsoft.com/office/drawing/2014/main" id="{072F5A74-CD05-4E1D-8EF5-1AB1867A518B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ltGray">
          <a:xfrm>
            <a:off x="8778240" y="0"/>
            <a:ext cx="3413760" cy="6858000"/>
          </a:xfrm>
          <a:prstGeom prst="rect">
            <a:avLst/>
          </a:prstGeom>
          <a:solidFill>
            <a:schemeClr val="accent3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24108" y="237193"/>
            <a:ext cx="7921606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24108" y="1050105"/>
            <a:ext cx="792160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24108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114501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6244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027568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477214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974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6B93D2B-F4A5-4725-87D5-E44A98D47327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03199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BE8274-8764-4D0E-B6DD-5CF9657070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4722C1-6A6B-4A15-8BE6-F66049EE29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62546B-D97A-454E-A250-C80FF97C7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1C525B-44B9-44B5-A15A-C4004051A45B}" type="datetimeFigureOut">
              <a:rPr lang="en-US" smtClean="0"/>
              <a:t>11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3A7790-4C16-4809-9A90-CB3B643B4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840D12-F670-4EA2-A883-E6B53F20FF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862420-0924-48BE-93CA-A2A0C0FFE1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2567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1384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591912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299983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6790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3063440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5142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9DEB12-CA9A-4CB9-BDB5-886F8B2605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15828E83-1A38-4079-BBBD-A0570B5821F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4735" y="4510168"/>
            <a:ext cx="110521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FB8F0DBF-6DF4-4080-8ADE-3065F84D760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092559"/>
            <a:ext cx="1105215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46FFFED1-69E7-44C0-86EC-45A8A36DB3E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1941" y="2617296"/>
            <a:ext cx="11052150" cy="135421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4D36EBB-1582-410A-8C38-2DE28C59F373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94519C2-2317-4F21-A12C-0C090C93A5BC}"/>
              </a:ext>
            </a:extLst>
          </p:cNvPr>
          <p:cNvSpPr/>
          <p:nvPr userDrawn="1"/>
        </p:nvSpPr>
        <p:spPr bwMode="ltGray">
          <a:xfrm>
            <a:off x="2391190" y="6482495"/>
            <a:ext cx="9243598" cy="176931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bg2"/>
              </a:buClr>
            </a:pPr>
            <a:endParaRPr lang="en-US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24EB53-992B-4D32-9F68-3AD473AA8E3B}"/>
              </a:ext>
            </a:extLst>
          </p:cNvPr>
          <p:cNvSpPr/>
          <p:nvPr userDrawn="1"/>
        </p:nvSpPr>
        <p:spPr bwMode="ltGray">
          <a:xfrm>
            <a:off x="1" y="6482495"/>
            <a:ext cx="11604090" cy="1524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B8D17D0-DC4E-4262-9789-7719977F1C46}"/>
              </a:ext>
            </a:extLst>
          </p:cNvPr>
          <p:cNvGrpSpPr/>
          <p:nvPr userDrawn="1"/>
        </p:nvGrpSpPr>
        <p:grpSpPr>
          <a:xfrm>
            <a:off x="547365" y="6116479"/>
            <a:ext cx="1026382" cy="616486"/>
            <a:chOff x="547365" y="6116479"/>
            <a:chExt cx="1026382" cy="616486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5C20E6D-9B7D-4B4C-8474-DF1BE020258E}"/>
                </a:ext>
              </a:extLst>
            </p:cNvPr>
            <p:cNvSpPr/>
            <p:nvPr/>
          </p:nvSpPr>
          <p:spPr bwMode="ltGray">
            <a:xfrm>
              <a:off x="547365" y="6116479"/>
              <a:ext cx="1026382" cy="616486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chemeClr val="tx1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E602452-40AF-4146-BBD2-D3D0DFD0BF6B}"/>
                </a:ext>
              </a:extLst>
            </p:cNvPr>
            <p:cNvSpPr/>
            <p:nvPr/>
          </p:nvSpPr>
          <p:spPr bwMode="ltGray">
            <a:xfrm>
              <a:off x="796110" y="6361775"/>
              <a:ext cx="249527" cy="236320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chemeClr val="bg1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6E9F051-B411-4DBB-A1B5-EC5AE457F0E4}"/>
                </a:ext>
              </a:extLst>
            </p:cNvPr>
            <p:cNvSpPr/>
            <p:nvPr/>
          </p:nvSpPr>
          <p:spPr bwMode="ltGray">
            <a:xfrm>
              <a:off x="1077981" y="6366680"/>
              <a:ext cx="223491" cy="226563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chemeClr val="bg1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917907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1340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4510168"/>
            <a:ext cx="1105215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092559"/>
            <a:ext cx="1105215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1941" y="2617296"/>
            <a:ext cx="11052150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C3BB88D-56AB-44C1-B3F6-80A42AFAF155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C3861B5-3C6C-4545-8BDA-FEE76619F7D7}"/>
              </a:ext>
            </a:extLst>
          </p:cNvPr>
          <p:cNvGrpSpPr/>
          <p:nvPr userDrawn="1"/>
        </p:nvGrpSpPr>
        <p:grpSpPr bwMode="ltGray">
          <a:xfrm>
            <a:off x="1" y="6482495"/>
            <a:ext cx="11634787" cy="176931"/>
            <a:chOff x="1" y="6482495"/>
            <a:chExt cx="11634787" cy="176931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571673C-8317-4ABE-A91C-ACB1E14AA2AA}"/>
                </a:ext>
              </a:extLst>
            </p:cNvPr>
            <p:cNvSpPr/>
            <p:nvPr userDrawn="1"/>
          </p:nvSpPr>
          <p:spPr bwMode="ltGray">
            <a:xfrm>
              <a:off x="2391190" y="6482495"/>
              <a:ext cx="9243598" cy="176931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chemeClr val="bg2"/>
                </a:buClr>
              </a:pPr>
              <a:endParaRPr lang="en-US" sz="16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A0711BC-85A4-4C1A-A60D-C32984310C99}"/>
                </a:ext>
              </a:extLst>
            </p:cNvPr>
            <p:cNvSpPr/>
            <p:nvPr userDrawn="1"/>
          </p:nvSpPr>
          <p:spPr bwMode="ltGray">
            <a:xfrm>
              <a:off x="1" y="6482495"/>
              <a:ext cx="11604090" cy="1524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ADDE161-098D-4975-82D9-3A879199A460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240CE31-16B4-4F8F-A81E-18BD83A2C647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BC78A8E-D49C-489B-B214-7B5421E2DD29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907495A-59A8-41BE-A1C7-C0D52021DC9E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371691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6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04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6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327DC5F7-B46F-487F-B2A9-7F9EA38CFA6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03038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4468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5D49480-E507-43D9-B733-97E66132DC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4636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9574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4FB28BA9-D2EA-4BCB-AEFA-C00359E2A7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3746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1334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D4893C02-F28A-42FF-B73F-EF7A20A1CFD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06581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1125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CEE6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30CA5E7-34D5-4324-A458-F7703410F9EB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598506B-A91C-475A-8378-56BED889C10A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0086DF6-50D3-4F9A-8733-EE31CA7ACC50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13563BB-8D3C-4213-A9CF-DDBC542A2029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3" name="Slide Number">
            <a:extLst>
              <a:ext uri="{FF2B5EF4-FFF2-40B4-BE49-F238E27FC236}">
                <a16:creationId xmlns:a16="http://schemas.microsoft.com/office/drawing/2014/main" id="{8E5B7D7C-5707-44C7-AB16-2BDB410AC04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B40A82A-28F7-4005-BA4F-8CCB5416D2F2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4184690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2433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CEE6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86326E0-D670-4912-B00B-8EEA8FA7BB16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E7801D2-5A56-4885-8A1D-51EB2DE88CE5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D1D9FC8-CC1F-48B2-BC7E-5CC59EE65607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CB8EB3F-A385-4A4A-A52A-504669F18953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Slide Number">
            <a:extLst>
              <a:ext uri="{FF2B5EF4-FFF2-40B4-BE49-F238E27FC236}">
                <a16:creationId xmlns:a16="http://schemas.microsoft.com/office/drawing/2014/main" id="{DB635840-B435-4634-9B60-6225D33CDE67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E32073F-A162-44E5-B671-AEC9A129633A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2760591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7691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CEE6FA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38472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91912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1840" y="6331418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4437A68-A72E-4570-ACE8-D7F1AD47F4A2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3F069D3-6C50-4B5D-9C52-9383C133FF88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934F93D-3C1B-4760-99FE-D27B06D206F5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79844BC-F07F-4C44-A230-A5BA6CDE9369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Slide Number">
            <a:extLst>
              <a:ext uri="{FF2B5EF4-FFF2-40B4-BE49-F238E27FC236}">
                <a16:creationId xmlns:a16="http://schemas.microsoft.com/office/drawing/2014/main" id="{71E886CD-5C69-4459-92D4-0F7B52AA83A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750644" y="6679868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A0EB7E9-45F5-4712-8D58-02457CA82E1F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2314924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4.xml"/><Relationship Id="rId39" Type="http://schemas.openxmlformats.org/officeDocument/2006/relationships/tags" Target="../tags/tag17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2.xml"/><Relationship Id="rId42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32" Type="http://schemas.openxmlformats.org/officeDocument/2006/relationships/tags" Target="../tags/tag10.xml"/><Relationship Id="rId37" Type="http://schemas.openxmlformats.org/officeDocument/2006/relationships/tags" Target="../tags/tag15.xml"/><Relationship Id="rId40" Type="http://schemas.openxmlformats.org/officeDocument/2006/relationships/tags" Target="../tags/tag18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tags" Target="../tags/tag6.xml"/><Relationship Id="rId36" Type="http://schemas.openxmlformats.org/officeDocument/2006/relationships/tags" Target="../tags/tag1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9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5.xml"/><Relationship Id="rId30" Type="http://schemas.openxmlformats.org/officeDocument/2006/relationships/tags" Target="../tags/tag8.xml"/><Relationship Id="rId35" Type="http://schemas.openxmlformats.org/officeDocument/2006/relationships/tags" Target="../tags/tag13.xml"/><Relationship Id="rId43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33" Type="http://schemas.openxmlformats.org/officeDocument/2006/relationships/tags" Target="../tags/tag11.xml"/><Relationship Id="rId38" Type="http://schemas.openxmlformats.org/officeDocument/2006/relationships/tags" Target="../tags/tag16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157350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1501077" y="6111064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17798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4736" y="2170800"/>
            <a:ext cx="2437655" cy="46166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  <a:br>
              <a:rPr lang="en-US"/>
            </a:br>
            <a:r>
              <a:rPr lang="en-US" sz="14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9BE8FFB2-ED1A-4DA5-B35B-4638F065D610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F4777C54-05D5-4D85-8C66-87DACC324AFE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D4CECC3-0534-4DF1-866D-D89C37CA94D0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8EBF9370-367D-4EA5-9650-A8192C067695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851C030-60CC-4FCA-8469-276087EA26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B740A3D2-B5B9-4486-835A-7EB56BC0B6B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CFD9884-F6CB-4F78-B164-BFE94EB68BB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20ACA31A-EBEB-44B0-9534-4954E640347F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DC05171-CE46-40FF-A3C0-7D6288C5669B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55C6E9E9-FF0E-432A-9B84-E97DD234239C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1F922A36-0DC3-40E9-AA33-062092CCE2CA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5BD4E972-91E5-46CE-BD9A-D96F02CCE803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1805B594-6FD7-4BF2-AD8B-51C7B5B9FB60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D449C9F2-BEA3-40FA-A464-A9D4E967839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C2E35939-353E-4E37-B5E1-41695F47D97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0B8BBED7-720B-47B5-872C-F999EC2288C0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541C4EF6-9004-4183-B574-AFD44AC5EA5D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5CCA82A7-7FA1-4B6D-8B78-68A7BED3B736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8938453D-31F4-465E-8D29-7E73DBF581A7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BED1CD13-DEFC-405A-95BD-C039230CF62B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F357ECE6-9F7A-44F6-9E04-35416B1691E8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1C31A74-B4CF-494D-A5B7-A2DC7375C32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8685B9E4-AB94-4DB0-A343-F6510E2A87CE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085192EF-7EAA-4A4D-ACFF-6218BBA4D80B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A4CA4248-E892-4FB5-B48B-AD5B593D96B5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F2CA276-A615-4E77-9230-E6DF629BBC5A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CE9D8D38-7A0F-4D15-9E4D-86B8DDD62C8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EB82467-28AB-4A78-9AD7-85CFECC30092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02BFB81-C9AD-40C1-861B-FAC435DC563B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11A4C32-ABB7-4EED-80F4-E033CD65556A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087CB19-43C3-4A75-992E-6425E01D27D4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8FB5D1AF-949F-4615-AB7F-D9569D2A2D54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9CF91784-EA7E-4DDA-ACE5-678BDF30D928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3BB69B83-F4BD-4CE4-8EF8-59333989EFFA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51578018-7547-4CE7-822B-A395CEB8BA1A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B184683-011B-4318-ACFE-16B642606BB6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14B8E185-A1D2-4430-AEC9-5D05B9257EAD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3AD66AD6-7134-4D29-A117-DA716D0DAEF8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15632C85-3EA0-4087-8FA3-BBAEDA90037B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152" name="TextBox 151">
            <a:extLst>
              <a:ext uri="{FF2B5EF4-FFF2-40B4-BE49-F238E27FC236}">
                <a16:creationId xmlns:a16="http://schemas.microsoft.com/office/drawing/2014/main" id="{F8ED9D11-6CE1-4370-BBF2-AB20F7DE2AB0}"/>
              </a:ext>
            </a:extLst>
          </p:cNvPr>
          <p:cNvSpPr txBox="1"/>
          <p:nvPr userDrawn="1"/>
        </p:nvSpPr>
        <p:spPr>
          <a:xfrm>
            <a:off x="3252274" y="6679868"/>
            <a:ext cx="5687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2021 Georgia-Pacific LLC. Confidential and Proprietary Information. Do not distribute or copy without prior consent. All rights reserved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9A5BF4B-86ED-4767-A27D-BAEC8999F803}"/>
              </a:ext>
            </a:extLst>
          </p:cNvPr>
          <p:cNvGrpSpPr/>
          <p:nvPr userDrawn="1"/>
        </p:nvGrpSpPr>
        <p:grpSpPr bwMode="ltGray">
          <a:xfrm>
            <a:off x="1" y="6482495"/>
            <a:ext cx="11634787" cy="176931"/>
            <a:chOff x="1" y="6482495"/>
            <a:chExt cx="11634787" cy="176931"/>
          </a:xfrm>
        </p:grpSpPr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5963FAFB-8CC0-4FA5-B043-F04456FB0D26}"/>
                </a:ext>
              </a:extLst>
            </p:cNvPr>
            <p:cNvSpPr/>
            <p:nvPr userDrawn="1"/>
          </p:nvSpPr>
          <p:spPr bwMode="ltGray">
            <a:xfrm>
              <a:off x="2391190" y="6482495"/>
              <a:ext cx="9243598" cy="176931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chemeClr val="bg2"/>
                </a:buClr>
              </a:pPr>
              <a:endParaRPr lang="en-US" sz="160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3E187A0A-54A6-4B4B-88A5-65C99073ECDA}"/>
                </a:ext>
              </a:extLst>
            </p:cNvPr>
            <p:cNvSpPr/>
            <p:nvPr userDrawn="1"/>
          </p:nvSpPr>
          <p:spPr bwMode="ltGray">
            <a:xfrm>
              <a:off x="1" y="6482495"/>
              <a:ext cx="11604090" cy="1524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59ABB731-3D7F-4970-82C4-98A50368AAD8}"/>
              </a:ext>
            </a:extLst>
          </p:cNvPr>
          <p:cNvGrpSpPr/>
          <p:nvPr userDrawn="1"/>
        </p:nvGrpSpPr>
        <p:grpSpPr bwMode="ltGray">
          <a:xfrm>
            <a:off x="547365" y="6116479"/>
            <a:ext cx="1026382" cy="616486"/>
            <a:chOff x="17864" y="-3048674"/>
            <a:chExt cx="2768679" cy="1662981"/>
          </a:xfrm>
        </p:grpSpPr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63E7D1A3-11BC-423B-B098-8FF16BA30EBE}"/>
                </a:ext>
              </a:extLst>
            </p:cNvPr>
            <p:cNvSpPr/>
            <p:nvPr/>
          </p:nvSpPr>
          <p:spPr bwMode="ltGray">
            <a:xfrm>
              <a:off x="17864" y="-3048674"/>
              <a:ext cx="2768679" cy="1662981"/>
            </a:xfrm>
            <a:custGeom>
              <a:avLst/>
              <a:gdLst>
                <a:gd name="connsiteX0" fmla="*/ 1384449 w 2768679"/>
                <a:gd name="connsiteY0" fmla="*/ 0 h 1662981"/>
                <a:gd name="connsiteX1" fmla="*/ 2768680 w 2768679"/>
                <a:gd name="connsiteY1" fmla="*/ 1397245 h 1662981"/>
                <a:gd name="connsiteX2" fmla="*/ 1655784 w 2768679"/>
                <a:gd name="connsiteY2" fmla="*/ 1397245 h 1662981"/>
                <a:gd name="connsiteX3" fmla="*/ 1534512 w 2768679"/>
                <a:gd name="connsiteY3" fmla="*/ 1420511 h 1662981"/>
                <a:gd name="connsiteX4" fmla="*/ 1458826 w 2768679"/>
                <a:gd name="connsiteY4" fmla="*/ 1511246 h 1662981"/>
                <a:gd name="connsiteX5" fmla="*/ 1384449 w 2768679"/>
                <a:gd name="connsiteY5" fmla="*/ 1662982 h 1662981"/>
                <a:gd name="connsiteX6" fmla="*/ 1309926 w 2768679"/>
                <a:gd name="connsiteY6" fmla="*/ 1511246 h 1662981"/>
                <a:gd name="connsiteX7" fmla="*/ 1234240 w 2768679"/>
                <a:gd name="connsiteY7" fmla="*/ 1420511 h 1662981"/>
                <a:gd name="connsiteX8" fmla="*/ 1112968 w 2768679"/>
                <a:gd name="connsiteY8" fmla="*/ 1397245 h 1662981"/>
                <a:gd name="connsiteX9" fmla="*/ 0 w 2768679"/>
                <a:gd name="connsiteY9" fmla="*/ 1397245 h 1662981"/>
                <a:gd name="connsiteX10" fmla="*/ 1384449 w 2768679"/>
                <a:gd name="connsiteY10" fmla="*/ 0 h 166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679" h="1662981">
                  <a:moveTo>
                    <a:pt x="1384449" y="0"/>
                  </a:moveTo>
                  <a:lnTo>
                    <a:pt x="2768680" y="1397245"/>
                  </a:lnTo>
                  <a:cubicBezTo>
                    <a:pt x="2768680" y="1397245"/>
                    <a:pt x="1656147" y="1397245"/>
                    <a:pt x="1655784" y="1397245"/>
                  </a:cubicBezTo>
                  <a:cubicBezTo>
                    <a:pt x="1601328" y="1397245"/>
                    <a:pt x="1567011" y="1402625"/>
                    <a:pt x="1534512" y="1420511"/>
                  </a:cubicBezTo>
                  <a:cubicBezTo>
                    <a:pt x="1497142" y="1441086"/>
                    <a:pt x="1479692" y="1468423"/>
                    <a:pt x="1458826" y="1511246"/>
                  </a:cubicBezTo>
                  <a:cubicBezTo>
                    <a:pt x="1458899" y="1511319"/>
                    <a:pt x="1384449" y="1662982"/>
                    <a:pt x="1384449" y="1662982"/>
                  </a:cubicBezTo>
                  <a:cubicBezTo>
                    <a:pt x="1384449" y="1662982"/>
                    <a:pt x="1309854" y="1511319"/>
                    <a:pt x="1309926" y="1511246"/>
                  </a:cubicBezTo>
                  <a:cubicBezTo>
                    <a:pt x="1289060" y="1468423"/>
                    <a:pt x="1271611" y="1441086"/>
                    <a:pt x="1234240" y="1420511"/>
                  </a:cubicBezTo>
                  <a:cubicBezTo>
                    <a:pt x="1201741" y="1402625"/>
                    <a:pt x="1167424" y="1397245"/>
                    <a:pt x="1112968" y="1397245"/>
                  </a:cubicBezTo>
                  <a:cubicBezTo>
                    <a:pt x="1112605" y="1397245"/>
                    <a:pt x="0" y="1397245"/>
                    <a:pt x="0" y="1397245"/>
                  </a:cubicBezTo>
                  <a:lnTo>
                    <a:pt x="1384449" y="0"/>
                  </a:lnTo>
                </a:path>
              </a:pathLst>
            </a:custGeom>
            <a:solidFill>
              <a:srgbClr val="0E5D9D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6AB7EC48-434C-40AF-A54C-7892024D8884}"/>
                </a:ext>
              </a:extLst>
            </p:cNvPr>
            <p:cNvSpPr/>
            <p:nvPr/>
          </p:nvSpPr>
          <p:spPr bwMode="ltGray">
            <a:xfrm>
              <a:off x="688858" y="-2386985"/>
              <a:ext cx="673102" cy="637477"/>
            </a:xfrm>
            <a:custGeom>
              <a:avLst/>
              <a:gdLst>
                <a:gd name="connsiteX0" fmla="*/ 673103 w 673102"/>
                <a:gd name="connsiteY0" fmla="*/ 589710 h 637477"/>
                <a:gd name="connsiteX1" fmla="*/ 388390 w 673102"/>
                <a:gd name="connsiteY1" fmla="*/ 637478 h 637477"/>
                <a:gd name="connsiteX2" fmla="*/ 0 w 673102"/>
                <a:gd name="connsiteY2" fmla="*/ 323246 h 637477"/>
                <a:gd name="connsiteX3" fmla="*/ 394279 w 673102"/>
                <a:gd name="connsiteY3" fmla="*/ 0 h 637477"/>
                <a:gd name="connsiteX4" fmla="*/ 670486 w 673102"/>
                <a:gd name="connsiteY4" fmla="*/ 54165 h 637477"/>
                <a:gd name="connsiteX5" fmla="*/ 670486 w 673102"/>
                <a:gd name="connsiteY5" fmla="*/ 197249 h 637477"/>
                <a:gd name="connsiteX6" fmla="*/ 649910 w 673102"/>
                <a:gd name="connsiteY6" fmla="*/ 197249 h 637477"/>
                <a:gd name="connsiteX7" fmla="*/ 417108 w 673102"/>
                <a:gd name="connsiteY7" fmla="*/ 115092 h 637477"/>
                <a:gd name="connsiteX8" fmla="*/ 192014 w 673102"/>
                <a:gd name="connsiteY8" fmla="*/ 315467 h 637477"/>
                <a:gd name="connsiteX9" fmla="*/ 422707 w 673102"/>
                <a:gd name="connsiteY9" fmla="*/ 519695 h 637477"/>
                <a:gd name="connsiteX10" fmla="*/ 489014 w 673102"/>
                <a:gd name="connsiteY10" fmla="*/ 509371 h 637477"/>
                <a:gd name="connsiteX11" fmla="*/ 489014 w 673102"/>
                <a:gd name="connsiteY11" fmla="*/ 396460 h 637477"/>
                <a:gd name="connsiteX12" fmla="*/ 344185 w 673102"/>
                <a:gd name="connsiteY12" fmla="*/ 396460 h 637477"/>
                <a:gd name="connsiteX13" fmla="*/ 344185 w 673102"/>
                <a:gd name="connsiteY13" fmla="*/ 281368 h 637477"/>
                <a:gd name="connsiteX14" fmla="*/ 673103 w 673102"/>
                <a:gd name="connsiteY14" fmla="*/ 281368 h 637477"/>
                <a:gd name="connsiteX15" fmla="*/ 673103 w 673102"/>
                <a:gd name="connsiteY15" fmla="*/ 589710 h 637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3102" h="637477">
                  <a:moveTo>
                    <a:pt x="673103" y="589710"/>
                  </a:moveTo>
                  <a:cubicBezTo>
                    <a:pt x="608032" y="611449"/>
                    <a:pt x="512061" y="637478"/>
                    <a:pt x="388390" y="637478"/>
                  </a:cubicBezTo>
                  <a:cubicBezTo>
                    <a:pt x="117927" y="637478"/>
                    <a:pt x="0" y="499483"/>
                    <a:pt x="0" y="323246"/>
                  </a:cubicBezTo>
                  <a:cubicBezTo>
                    <a:pt x="0" y="121054"/>
                    <a:pt x="160532" y="0"/>
                    <a:pt x="394279" y="0"/>
                  </a:cubicBezTo>
                  <a:cubicBezTo>
                    <a:pt x="516496" y="0"/>
                    <a:pt x="591164" y="21303"/>
                    <a:pt x="670486" y="54165"/>
                  </a:cubicBezTo>
                  <a:lnTo>
                    <a:pt x="670486" y="197249"/>
                  </a:lnTo>
                  <a:lnTo>
                    <a:pt x="649910" y="197249"/>
                  </a:lnTo>
                  <a:cubicBezTo>
                    <a:pt x="592546" y="153117"/>
                    <a:pt x="526529" y="115092"/>
                    <a:pt x="417108" y="115092"/>
                  </a:cubicBezTo>
                  <a:cubicBezTo>
                    <a:pt x="278969" y="115092"/>
                    <a:pt x="192014" y="191650"/>
                    <a:pt x="192014" y="315467"/>
                  </a:cubicBezTo>
                  <a:cubicBezTo>
                    <a:pt x="192014" y="424597"/>
                    <a:pt x="246324" y="525948"/>
                    <a:pt x="422707" y="519695"/>
                  </a:cubicBezTo>
                  <a:cubicBezTo>
                    <a:pt x="440374" y="519041"/>
                    <a:pt x="469819" y="515115"/>
                    <a:pt x="489014" y="509371"/>
                  </a:cubicBezTo>
                  <a:lnTo>
                    <a:pt x="489014" y="396460"/>
                  </a:lnTo>
                  <a:lnTo>
                    <a:pt x="344185" y="396460"/>
                  </a:lnTo>
                  <a:lnTo>
                    <a:pt x="344185" y="281368"/>
                  </a:lnTo>
                  <a:lnTo>
                    <a:pt x="673103" y="281368"/>
                  </a:lnTo>
                  <a:lnTo>
                    <a:pt x="673103" y="589710"/>
                  </a:ln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F2C53054-8898-4A3D-9202-5FAE58E77561}"/>
                </a:ext>
              </a:extLst>
            </p:cNvPr>
            <p:cNvSpPr/>
            <p:nvPr/>
          </p:nvSpPr>
          <p:spPr bwMode="ltGray">
            <a:xfrm>
              <a:off x="1449207" y="-2373753"/>
              <a:ext cx="602869" cy="611158"/>
            </a:xfrm>
            <a:custGeom>
              <a:avLst/>
              <a:gdLst>
                <a:gd name="connsiteX0" fmla="*/ 413546 w 602869"/>
                <a:gd name="connsiteY0" fmla="*/ 202992 h 611158"/>
                <a:gd name="connsiteX1" fmla="*/ 364034 w 602869"/>
                <a:gd name="connsiteY1" fmla="*/ 281587 h 611158"/>
                <a:gd name="connsiteX2" fmla="*/ 274679 w 602869"/>
                <a:gd name="connsiteY2" fmla="*/ 296637 h 611158"/>
                <a:gd name="connsiteX3" fmla="*/ 184234 w 602869"/>
                <a:gd name="connsiteY3" fmla="*/ 296637 h 611158"/>
                <a:gd name="connsiteX4" fmla="*/ 184234 w 602869"/>
                <a:gd name="connsiteY4" fmla="*/ 114947 h 611158"/>
                <a:gd name="connsiteX5" fmla="*/ 274679 w 602869"/>
                <a:gd name="connsiteY5" fmla="*/ 114947 h 611158"/>
                <a:gd name="connsiteX6" fmla="*/ 364034 w 602869"/>
                <a:gd name="connsiteY6" fmla="*/ 127234 h 611158"/>
                <a:gd name="connsiteX7" fmla="*/ 413546 w 602869"/>
                <a:gd name="connsiteY7" fmla="*/ 202992 h 611158"/>
                <a:gd name="connsiteX8" fmla="*/ 506318 w 602869"/>
                <a:gd name="connsiteY8" fmla="*/ 36134 h 611158"/>
                <a:gd name="connsiteX9" fmla="*/ 316194 w 602869"/>
                <a:gd name="connsiteY9" fmla="*/ 0 h 611158"/>
                <a:gd name="connsiteX10" fmla="*/ 0 w 602869"/>
                <a:gd name="connsiteY10" fmla="*/ 0 h 611158"/>
                <a:gd name="connsiteX11" fmla="*/ 0 w 602869"/>
                <a:gd name="connsiteY11" fmla="*/ 611158 h 611158"/>
                <a:gd name="connsiteX12" fmla="*/ 184234 w 602869"/>
                <a:gd name="connsiteY12" fmla="*/ 611158 h 611158"/>
                <a:gd name="connsiteX13" fmla="*/ 184234 w 602869"/>
                <a:gd name="connsiteY13" fmla="*/ 411729 h 611158"/>
                <a:gd name="connsiteX14" fmla="*/ 311759 w 602869"/>
                <a:gd name="connsiteY14" fmla="*/ 411729 h 611158"/>
                <a:gd name="connsiteX15" fmla="*/ 505081 w 602869"/>
                <a:gd name="connsiteY15" fmla="*/ 372468 h 611158"/>
                <a:gd name="connsiteX16" fmla="*/ 602870 w 602869"/>
                <a:gd name="connsiteY16" fmla="*/ 192814 h 611158"/>
                <a:gd name="connsiteX17" fmla="*/ 506318 w 602869"/>
                <a:gd name="connsiteY17" fmla="*/ 36134 h 61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2869" h="611158">
                  <a:moveTo>
                    <a:pt x="413546" y="202992"/>
                  </a:moveTo>
                  <a:cubicBezTo>
                    <a:pt x="413546" y="247561"/>
                    <a:pt x="389481" y="269808"/>
                    <a:pt x="364034" y="281587"/>
                  </a:cubicBezTo>
                  <a:cubicBezTo>
                    <a:pt x="340405" y="292492"/>
                    <a:pt x="305870" y="296637"/>
                    <a:pt x="274679" y="296637"/>
                  </a:cubicBezTo>
                  <a:lnTo>
                    <a:pt x="184234" y="296637"/>
                  </a:lnTo>
                  <a:lnTo>
                    <a:pt x="184234" y="114947"/>
                  </a:lnTo>
                  <a:lnTo>
                    <a:pt x="274679" y="114947"/>
                  </a:lnTo>
                  <a:cubicBezTo>
                    <a:pt x="305870" y="114947"/>
                    <a:pt x="340405" y="116401"/>
                    <a:pt x="364034" y="127234"/>
                  </a:cubicBezTo>
                  <a:cubicBezTo>
                    <a:pt x="389481" y="139012"/>
                    <a:pt x="413546" y="158570"/>
                    <a:pt x="413546" y="202992"/>
                  </a:cubicBezTo>
                  <a:close/>
                  <a:moveTo>
                    <a:pt x="506318" y="36134"/>
                  </a:moveTo>
                  <a:cubicBezTo>
                    <a:pt x="455933" y="7634"/>
                    <a:pt x="390498" y="0"/>
                    <a:pt x="316194" y="0"/>
                  </a:cubicBezTo>
                  <a:lnTo>
                    <a:pt x="0" y="0"/>
                  </a:lnTo>
                  <a:lnTo>
                    <a:pt x="0" y="611158"/>
                  </a:lnTo>
                  <a:lnTo>
                    <a:pt x="184234" y="611158"/>
                  </a:lnTo>
                  <a:lnTo>
                    <a:pt x="184234" y="411729"/>
                  </a:lnTo>
                  <a:lnTo>
                    <a:pt x="311759" y="411729"/>
                  </a:lnTo>
                  <a:cubicBezTo>
                    <a:pt x="383446" y="411729"/>
                    <a:pt x="450916" y="403149"/>
                    <a:pt x="505081" y="372468"/>
                  </a:cubicBezTo>
                  <a:cubicBezTo>
                    <a:pt x="568917" y="336261"/>
                    <a:pt x="602870" y="279551"/>
                    <a:pt x="602870" y="192814"/>
                  </a:cubicBezTo>
                  <a:cubicBezTo>
                    <a:pt x="602870" y="116837"/>
                    <a:pt x="570371" y="72414"/>
                    <a:pt x="506318" y="36134"/>
                  </a:cubicBezTo>
                </a:path>
              </a:pathLst>
            </a:custGeom>
            <a:solidFill>
              <a:srgbClr val="FFFFFF"/>
            </a:solidFill>
            <a:ln w="119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15535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685" r:id="rId2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3313CE-36E3-5FE0-4060-05373D362F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5BF51EE-40F8-286C-787D-939FA7F4B74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203392-A487-CE60-A2A8-582ACED71A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1628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5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5A&quot; g=&quot;86&quot; b=&quot;D5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YN2dQEus0quMehzfoUJ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E5D9D"/>
      </a:accent1>
      <a:accent2>
        <a:srgbClr val="009CDA"/>
      </a:accent2>
      <a:accent3>
        <a:srgbClr val="7DBAE7"/>
      </a:accent3>
      <a:accent4>
        <a:srgbClr val="C9F0FF"/>
      </a:accent4>
      <a:accent5>
        <a:srgbClr val="969696"/>
      </a:accent5>
      <a:accent6>
        <a:srgbClr val="DDDDDD"/>
      </a:accent6>
      <a:hlink>
        <a:srgbClr val="0000FF"/>
      </a:hlink>
      <a:folHlink>
        <a:srgbClr val="800080"/>
      </a:folHlink>
    </a:clrScheme>
    <a:fontScheme name="Custom 1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E5D9D"/>
        </a:accent1>
        <a:accent2>
          <a:srgbClr val="009CDA"/>
        </a:accent2>
        <a:accent3>
          <a:srgbClr val="7DBAE7"/>
        </a:accent3>
        <a:accent4>
          <a:srgbClr val="C9F0FF"/>
        </a:accent4>
        <a:accent5>
          <a:srgbClr val="969696"/>
        </a:accent5>
        <a:accent6>
          <a:srgbClr val="DDDDD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Slide template" id="{2205DEC8-79E5-4F6F-887A-26FD229C43AD}" vid="{B3B78B48-1825-4DEC-BE9B-3BA6E4B0F5B9}"/>
    </a:ext>
  </a:extLst>
</a:theme>
</file>

<file path=docMetadata/LabelInfo.xml><?xml version="1.0" encoding="utf-8"?>
<clbl:labelList xmlns:clbl="http://schemas.microsoft.com/office/2020/mipLabelMetadata">
  <clbl:label id="{101ce67d-13f2-447a-bb65-0989b89dfdb4}" enabled="0" method="" siteId="{101ce67d-13f2-447a-bb65-0989b89dfdb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</TotalTime>
  <Words>0</Words>
  <Application>Microsoft Office PowerPoint</Application>
  <PresentationFormat>Widescreen</PresentationFormat>
  <Paragraphs>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Georgia</vt:lpstr>
      <vt:lpstr>Segoe UI</vt:lpstr>
      <vt:lpstr>Wingdings</vt:lpstr>
      <vt:lpstr>Whit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tes, Peyton H</dc:creator>
  <cp:lastModifiedBy>Wates, Peyton H</cp:lastModifiedBy>
  <cp:revision>3</cp:revision>
  <dcterms:created xsi:type="dcterms:W3CDTF">2023-05-24T13:22:04Z</dcterms:created>
  <dcterms:modified xsi:type="dcterms:W3CDTF">2024-11-12T13:21:24Z</dcterms:modified>
</cp:coreProperties>
</file>